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7"/>
  </p:notesMasterIdLst>
  <p:sldIdLst>
    <p:sldId id="303" r:id="rId5"/>
    <p:sldId id="357" r:id="rId6"/>
    <p:sldId id="360" r:id="rId7"/>
    <p:sldId id="371" r:id="rId8"/>
    <p:sldId id="373" r:id="rId9"/>
    <p:sldId id="370" r:id="rId10"/>
    <p:sldId id="379" r:id="rId11"/>
    <p:sldId id="375" r:id="rId12"/>
    <p:sldId id="376" r:id="rId13"/>
    <p:sldId id="372" r:id="rId14"/>
    <p:sldId id="377" r:id="rId15"/>
    <p:sldId id="378" r:id="rId16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ingle Line Diagram" id="{CB40F5A2-16EE-482B-989B-D1D54FFBDA92}">
          <p14:sldIdLst>
            <p14:sldId id="303"/>
            <p14:sldId id="357"/>
            <p14:sldId id="360"/>
            <p14:sldId id="371"/>
            <p14:sldId id="373"/>
            <p14:sldId id="370"/>
            <p14:sldId id="379"/>
          </p14:sldIdLst>
        </p14:section>
        <p14:section name="Site Inspections" id="{D77C12E1-3BBB-4C5D-A052-C62B8C371E7A}">
          <p14:sldIdLst>
            <p14:sldId id="375"/>
            <p14:sldId id="376"/>
            <p14:sldId id="372"/>
            <p14:sldId id="377"/>
            <p14:sldId id="37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521">
          <p15:clr>
            <a:srgbClr val="A4A3A4"/>
          </p15:clr>
        </p15:guide>
        <p15:guide id="2" orient="horz" pos="2482">
          <p15:clr>
            <a:srgbClr val="A4A3A4"/>
          </p15:clr>
        </p15:guide>
        <p15:guide id="3" orient="horz" pos="1606">
          <p15:clr>
            <a:srgbClr val="A4A3A4"/>
          </p15:clr>
        </p15:guide>
        <p15:guide id="4" orient="horz" pos="2618">
          <p15:clr>
            <a:srgbClr val="A4A3A4"/>
          </p15:clr>
        </p15:guide>
        <p15:guide id="5" orient="horz" pos="1145">
          <p15:clr>
            <a:srgbClr val="A4A3A4"/>
          </p15:clr>
        </p15:guide>
        <p15:guide id="6" pos="4858">
          <p15:clr>
            <a:srgbClr val="A4A3A4"/>
          </p15:clr>
        </p15:guide>
        <p15:guide id="7" pos="4232">
          <p15:clr>
            <a:srgbClr val="A4A3A4"/>
          </p15:clr>
        </p15:guide>
        <p15:guide id="8" pos="938">
          <p15:clr>
            <a:srgbClr val="A4A3A4"/>
          </p15:clr>
        </p15:guide>
        <p15:guide id="9" pos="41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33"/>
    <a:srgbClr val="569C5D"/>
    <a:srgbClr val="EE0000"/>
    <a:srgbClr val="FF9900"/>
    <a:srgbClr val="E6E6E6"/>
    <a:srgbClr val="E57C09"/>
    <a:srgbClr val="F1B337"/>
    <a:srgbClr val="27893A"/>
    <a:srgbClr val="2FA746"/>
    <a:srgbClr val="3056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503" autoAdjust="0"/>
    <p:restoredTop sz="85890" autoAdjust="0"/>
  </p:normalViewPr>
  <p:slideViewPr>
    <p:cSldViewPr snapToGrid="0" snapToObjects="1">
      <p:cViewPr varScale="1">
        <p:scale>
          <a:sx n="129" d="100"/>
          <a:sy n="129" d="100"/>
        </p:scale>
        <p:origin x="996" y="96"/>
      </p:cViewPr>
      <p:guideLst>
        <p:guide orient="horz" pos="521"/>
        <p:guide orient="horz" pos="2482"/>
        <p:guide orient="horz" pos="1606"/>
        <p:guide orient="horz" pos="2618"/>
        <p:guide orient="horz" pos="1145"/>
        <p:guide pos="4858"/>
        <p:guide pos="4232"/>
        <p:guide pos="938"/>
        <p:guide pos="41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99" d="100"/>
          <a:sy n="99" d="100"/>
        </p:scale>
        <p:origin x="-3480" y="-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C8E2DC-4F3A-424D-9396-EF778B63584C}" type="datetimeFigureOut">
              <a:rPr lang="en-US" smtClean="0"/>
              <a:t>12/12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10C254-8A55-D042-B65F-25B8C5B6D8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74320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10C254-8A55-D042-B65F-25B8C5B6D8A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23666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597819"/>
            <a:ext cx="7772400" cy="427831"/>
          </a:xfrm>
        </p:spPr>
        <p:txBody>
          <a:bodyPr>
            <a:normAutofit/>
          </a:bodyPr>
          <a:lstStyle>
            <a:lvl1pPr algn="l">
              <a:defRPr sz="3600"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038350"/>
            <a:ext cx="7772400" cy="1143000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6407" y="-1160"/>
            <a:ext cx="824340" cy="1180535"/>
          </a:xfrm>
          <a:prstGeom prst="rect">
            <a:avLst/>
          </a:prstGeom>
        </p:spPr>
      </p:pic>
      <p:sp>
        <p:nvSpPr>
          <p:cNvPr id="8" name="Subtitle 2"/>
          <p:cNvSpPr txBox="1">
            <a:spLocks/>
          </p:cNvSpPr>
          <p:nvPr userDrawn="1"/>
        </p:nvSpPr>
        <p:spPr>
          <a:xfrm>
            <a:off x="711200" y="2374900"/>
            <a:ext cx="7772400" cy="228600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Helvetica" pitchFamily="34" charset="0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Helvetica" pitchFamily="34" charset="0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Helvetica" pitchFamily="34" charset="0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Helvetica" pitchFamily="34" charset="0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4667166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400">
                <a:latin typeface="Helvetica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765955" y="260719"/>
            <a:ext cx="336941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  <a:cs typeface="Helvetica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76407" y="0"/>
            <a:ext cx="824340" cy="395957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>
            <a:normAutofit/>
          </a:bodyPr>
          <a:lstStyle>
            <a:lvl1pPr algn="l">
              <a:defRPr sz="28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10400" y="4949057"/>
            <a:ext cx="2133600" cy="169043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algn="r"/>
            <a:fld id="{31A15EAA-547D-4185-A4E0-DDC0B5B98EDA}" type="slidenum">
              <a:rPr lang="en-US" smtClean="0">
                <a:latin typeface="Helvetica" pitchFamily="34" charset="0"/>
              </a:rPr>
              <a:pPr algn="r"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518506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2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76407" y="0"/>
            <a:ext cx="824340" cy="395957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10400" y="4949057"/>
            <a:ext cx="2133600" cy="169043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algn="r"/>
            <a:fld id="{31A15EAA-547D-4185-A4E0-DDC0B5B98EDA}" type="slidenum">
              <a:rPr lang="en-US" smtClean="0">
                <a:latin typeface="Helvetica" pitchFamily="34" charset="0"/>
              </a:rPr>
              <a:pPr algn="r"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680443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10400" y="4949057"/>
            <a:ext cx="2133600" cy="169043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algn="r"/>
            <a:fld id="{31A15EAA-547D-4185-A4E0-DDC0B5B98EDA}" type="slidenum">
              <a:rPr lang="en-US" smtClean="0">
                <a:latin typeface="Helvetica" pitchFamily="34" charset="0"/>
              </a:rPr>
              <a:pPr algn="r"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71253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10400" y="4949057"/>
            <a:ext cx="2133600" cy="169043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algn="r"/>
            <a:fld id="{31A15EAA-547D-4185-A4E0-DDC0B5B98EDA}" type="slidenum">
              <a:rPr lang="en-US" smtClean="0">
                <a:latin typeface="Helvetica" pitchFamily="34" charset="0"/>
              </a:rPr>
              <a:pPr algn="r"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74193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ic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3"/>
          <a:ext cx="119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119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7864475" y="2"/>
            <a:ext cx="838200" cy="12477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/>
            <a:endParaRPr lang="en-GB" sz="24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76407" y="3"/>
            <a:ext cx="824340" cy="395957"/>
          </a:xfrm>
          <a:prstGeom prst="rect">
            <a:avLst/>
          </a:prstGeom>
        </p:spPr>
      </p:pic>
      <p:sp>
        <p:nvSpPr>
          <p:cNvPr id="12" name="Title Placeholder 3"/>
          <p:cNvSpPr>
            <a:spLocks noGrp="1"/>
          </p:cNvSpPr>
          <p:nvPr>
            <p:ph type="title"/>
          </p:nvPr>
        </p:nvSpPr>
        <p:spPr>
          <a:xfrm>
            <a:off x="457201" y="159113"/>
            <a:ext cx="741920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4920016"/>
            <a:ext cx="8229600" cy="200055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700" baseline="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GB" dirty="0"/>
              <a:t>Source: </a:t>
            </a:r>
          </a:p>
        </p:txBody>
      </p:sp>
      <p:sp>
        <p:nvSpPr>
          <p:cNvPr id="19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254448" y="4869658"/>
            <a:ext cx="432353" cy="273844"/>
          </a:xfrm>
          <a:prstGeom prst="rect">
            <a:avLst/>
          </a:prstGeom>
        </p:spPr>
        <p:txBody>
          <a:bodyPr vert="horz" lIns="68589" tIns="34295" rIns="68589" bIns="34295" rtlCol="0" anchor="ctr"/>
          <a:lstStyle>
            <a:lvl1pPr algn="r">
              <a:defRPr sz="7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00E6B595-AC0B-45AA-8133-7422E92C4F2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>
          <a:xfrm>
            <a:off x="5168349" y="4869658"/>
            <a:ext cx="3086100" cy="273844"/>
          </a:xfrm>
          <a:prstGeom prst="rect">
            <a:avLst/>
          </a:prstGeom>
        </p:spPr>
        <p:txBody>
          <a:bodyPr lIns="68589" tIns="34295" rIns="68589" bIns="34295"/>
          <a:lstStyle/>
          <a:p>
            <a:r>
              <a:rPr lang="en-GB" dirty="0"/>
              <a:t>© TESLA MOTORS NETHERLANDS BV |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502955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w Powerwall 2 cr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0321" b="21791"/>
          <a:stretch/>
        </p:blipFill>
        <p:spPr>
          <a:xfrm>
            <a:off x="1" y="1"/>
            <a:ext cx="6371401" cy="497953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38078" y="400050"/>
            <a:ext cx="2705922" cy="1485900"/>
          </a:xfrm>
        </p:spPr>
        <p:txBody>
          <a:bodyPr anchor="b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9753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-6350" y="4978173"/>
            <a:ext cx="9150350" cy="169043"/>
          </a:xfrm>
          <a:prstGeom prst="rect">
            <a:avLst/>
          </a:prstGeom>
          <a:solidFill>
            <a:srgbClr val="C2000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76407" y="0"/>
            <a:ext cx="824340" cy="395957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4940929"/>
            <a:ext cx="8625840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  <a:latin typeface="Helvetica" pitchFamily="34" charset="0"/>
                <a:ea typeface="ＭＳ Ｐゴシック" charset="0"/>
                <a:cs typeface="Arial" panose="020B0604020202020204" pitchFamily="34" charset="0"/>
                <a:sym typeface="Helvetica Light" charset="0"/>
              </a:rPr>
              <a:t>© Copyright 2015 Tesla Motors, Inc. All rights reserved. Proprietary and confidential business information subject to and disclosed under applicable Non-disclosure Agreement and/or exempt from FOIA disclosure.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10400" y="4949057"/>
            <a:ext cx="2133600" cy="169043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algn="r"/>
            <a:fld id="{31A15EAA-547D-4185-A4E0-DDC0B5B98EDA}" type="slidenum">
              <a:rPr lang="en-US" smtClean="0">
                <a:latin typeface="Helvetica" pitchFamily="34" charset="0"/>
              </a:rPr>
              <a:pPr algn="r"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86252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  <p:sldLayoutId id="2147483655" r:id="rId5"/>
    <p:sldLayoutId id="2147483656" r:id="rId6"/>
    <p:sldLayoutId id="2147483657" r:id="rId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chemeClr val="bg1">
              <a:lumMod val="50000"/>
            </a:schemeClr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Helvetica" pitchFamily="34" charset="0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Helvetica" pitchFamily="34" charset="0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Helvetica" pitchFamily="34" charset="0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Helvetica" pitchFamily="34" charset="0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Helvetica" pitchFamily="34" charset="0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A99D13A-F379-42BB-B065-B4568DBDDB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3508" y="1286107"/>
            <a:ext cx="7516983" cy="1055649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/>
              <a:t>PV-Paired Storage Projects</a:t>
            </a:r>
            <a:br>
              <a:rPr lang="en-US" dirty="0"/>
            </a:br>
            <a:r>
              <a:rPr lang="en-US" dirty="0"/>
              <a:t>Single Line Diagrams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4599A1D1-5395-4A7A-9E9F-77FAE57B1E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24653" y="2559619"/>
            <a:ext cx="4163121" cy="956732"/>
          </a:xfrm>
        </p:spPr>
        <p:txBody>
          <a:bodyPr/>
          <a:lstStyle/>
          <a:p>
            <a:pPr algn="ctr"/>
            <a:r>
              <a:rPr lang="en-US" dirty="0"/>
              <a:t>Interconnection Discussion Forum</a:t>
            </a:r>
          </a:p>
          <a:p>
            <a:pPr algn="ctr"/>
            <a:r>
              <a:rPr lang="en-US" dirty="0"/>
              <a:t>December 2019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EE362D-46EC-41BF-97A6-BC744A66686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712200" y="4870450"/>
            <a:ext cx="431800" cy="273050"/>
          </a:xfrm>
        </p:spPr>
        <p:txBody>
          <a:bodyPr/>
          <a:lstStyle/>
          <a:p>
            <a:fld id="{00E6B595-AC0B-45AA-8133-7422E92C4F20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782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F0E7C45-C2E7-48C7-A59E-0C0F447D45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Photos provided in place of duplicate inspections</a:t>
            </a:r>
          </a:p>
          <a:p>
            <a:pPr lvl="0"/>
            <a:r>
              <a:rPr lang="en-US" dirty="0"/>
              <a:t>Final building inspection record satisfies utility inspection</a:t>
            </a:r>
          </a:p>
          <a:p>
            <a:pPr lvl="0"/>
            <a:r>
              <a:rPr lang="en-US" dirty="0"/>
              <a:t>Acknowledge UL certified equipment</a:t>
            </a:r>
          </a:p>
          <a:p>
            <a:pPr lvl="0"/>
            <a:r>
              <a:rPr lang="en-US" dirty="0"/>
              <a:t>Visit site after storage device is operational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689E59F-9F93-4C0D-9E62-9DD4121ACE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d Alternativ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6BC148-6D79-4F86-A564-DAEA25CDEB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31A15EAA-547D-4185-A4E0-DDC0B5B98EDA}" type="slidenum">
              <a:rPr lang="en-US" smtClean="0">
                <a:latin typeface="Helvetica" pitchFamily="34" charset="0"/>
              </a:rPr>
              <a:pPr algn="r"/>
              <a:t>10</a:t>
            </a:fld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18056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CDE13F6-8A4E-491E-B632-1B70CC5A6B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nefits to Removing Utility Inspection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01775CB-AF27-40D5-BB6A-826E5BB92E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1063229"/>
            <a:ext cx="7872761" cy="3394472"/>
          </a:xfrm>
        </p:spPr>
        <p:txBody>
          <a:bodyPr>
            <a:normAutofit/>
          </a:bodyPr>
          <a:lstStyle/>
          <a:p>
            <a:r>
              <a:rPr lang="en-US" dirty="0"/>
              <a:t>Removes timeline for additional inspection to occur – quicker PTO</a:t>
            </a:r>
          </a:p>
          <a:p>
            <a:r>
              <a:rPr lang="en-US" dirty="0"/>
              <a:t>Improves customer experience – protected from shutoffs soon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A868F6-CD3A-4B82-94A8-F45F656DF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31A15EAA-547D-4185-A4E0-DDC0B5B98EDA}" type="slidenum">
              <a:rPr lang="en-US" smtClean="0">
                <a:latin typeface="Helvetica" pitchFamily="34" charset="0"/>
              </a:rPr>
              <a:pPr algn="r"/>
              <a:t>11</a:t>
            </a:fld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21134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FB599B-B0A8-4467-8F0D-A18F250A8B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Inspection Photo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BD48B8-1D60-474F-81CD-2D44FBB6B1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31A15EAA-547D-4185-A4E0-DDC0B5B98EDA}" type="slidenum">
              <a:rPr lang="en-US" smtClean="0">
                <a:latin typeface="Helvetica" pitchFamily="34" charset="0"/>
              </a:rPr>
              <a:pPr algn="r"/>
              <a:t>12</a:t>
            </a:fld>
            <a:r>
              <a:rPr lang="en-US"/>
              <a:t> </a:t>
            </a:r>
            <a:endParaRPr lang="en-US" dirty="0"/>
          </a:p>
        </p:txBody>
      </p:sp>
      <p:pic>
        <p:nvPicPr>
          <p:cNvPr id="18" name="Content Placeholder 17">
            <a:extLst>
              <a:ext uri="{FF2B5EF4-FFF2-40B4-BE49-F238E27FC236}">
                <a16:creationId xmlns:a16="http://schemas.microsoft.com/office/drawing/2014/main" id="{0B3B55B7-647D-4945-94ED-04CF1232A890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4572000" y="1266682"/>
            <a:ext cx="4204010" cy="339457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7" name="Content Placeholder 16">
            <a:extLst>
              <a:ext uri="{FF2B5EF4-FFF2-40B4-BE49-F238E27FC236}">
                <a16:creationId xmlns:a16="http://schemas.microsoft.com/office/drawing/2014/main" id="{B1BD06EF-782F-4EB9-A991-CAE764C078A7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293650" y="1266681"/>
            <a:ext cx="4204010" cy="336459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776808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F89F7B-E453-4710-B0AA-46141130AA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8078" y="1263805"/>
            <a:ext cx="2705922" cy="498320"/>
          </a:xfrm>
        </p:spPr>
        <p:txBody>
          <a:bodyPr>
            <a:normAutofit fontScale="90000"/>
          </a:bodyPr>
          <a:lstStyle/>
          <a:p>
            <a:r>
              <a:rPr lang="en-US" dirty="0"/>
              <a:t>Overview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B96D68C-D6A0-4F8A-A75C-864F755AF377}"/>
              </a:ext>
            </a:extLst>
          </p:cNvPr>
          <p:cNvSpPr/>
          <p:nvPr/>
        </p:nvSpPr>
        <p:spPr>
          <a:xfrm>
            <a:off x="6438078" y="1785164"/>
            <a:ext cx="270592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600" dirty="0"/>
              <a:t>Current proces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600" dirty="0"/>
              <a:t>Process improvements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600" dirty="0"/>
              <a:t>Implementation proposals</a:t>
            </a:r>
          </a:p>
          <a:p>
            <a:endParaRPr lang="en-US" sz="1600" dirty="0"/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3357076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0A31A12-1890-4F75-A87B-A8FA404F6B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20252"/>
            <a:ext cx="8229600" cy="857250"/>
          </a:xfrm>
        </p:spPr>
        <p:txBody>
          <a:bodyPr/>
          <a:lstStyle/>
          <a:p>
            <a:r>
              <a:rPr lang="en-US" dirty="0"/>
              <a:t>Existing Practices – PV-Paired Storage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62001A-EF79-496D-BFBA-97095B375F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31A15EAA-547D-4185-A4E0-DDC0B5B98EDA}" type="slidenum">
              <a:rPr lang="en-US" smtClean="0">
                <a:latin typeface="Helvetica" pitchFamily="34" charset="0"/>
              </a:rPr>
              <a:pPr algn="r"/>
              <a:t>3</a:t>
            </a:fld>
            <a:r>
              <a:rPr lang="en-US"/>
              <a:t> </a:t>
            </a:r>
            <a:endParaRPr lang="en-US" dirty="0"/>
          </a:p>
        </p:txBody>
      </p:sp>
      <p:graphicFrame>
        <p:nvGraphicFramePr>
          <p:cNvPr id="2" name="Table 4">
            <a:extLst>
              <a:ext uri="{FF2B5EF4-FFF2-40B4-BE49-F238E27FC236}">
                <a16:creationId xmlns:a16="http://schemas.microsoft.com/office/drawing/2014/main" id="{CDA2A4E0-8D16-40BD-B22B-75AB42950A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2774684"/>
              </p:ext>
            </p:extLst>
          </p:nvPr>
        </p:nvGraphicFramePr>
        <p:xfrm>
          <a:off x="457201" y="984848"/>
          <a:ext cx="7984275" cy="30072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1425">
                  <a:extLst>
                    <a:ext uri="{9D8B030D-6E8A-4147-A177-3AD203B41FA5}">
                      <a16:colId xmlns:a16="http://schemas.microsoft.com/office/drawing/2014/main" val="2250582349"/>
                    </a:ext>
                  </a:extLst>
                </a:gridCol>
                <a:gridCol w="2661425">
                  <a:extLst>
                    <a:ext uri="{9D8B030D-6E8A-4147-A177-3AD203B41FA5}">
                      <a16:colId xmlns:a16="http://schemas.microsoft.com/office/drawing/2014/main" val="347762508"/>
                    </a:ext>
                  </a:extLst>
                </a:gridCol>
                <a:gridCol w="2661425">
                  <a:extLst>
                    <a:ext uri="{9D8B030D-6E8A-4147-A177-3AD203B41FA5}">
                      <a16:colId xmlns:a16="http://schemas.microsoft.com/office/drawing/2014/main" val="945879950"/>
                    </a:ext>
                  </a:extLst>
                </a:gridCol>
              </a:tblGrid>
              <a:tr h="598626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G&amp;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003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C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003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DG&amp;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00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7234266"/>
                  </a:ext>
                </a:extLst>
              </a:tr>
              <a:tr h="2408663"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dirty="0"/>
                        <a:t>Template diagram employed for standard NEM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dirty="0"/>
                        <a:t>Custom diagram submitted for NEM-ST, NEM-MT, NEMA, and Expanded NEM</a:t>
                      </a:r>
                    </a:p>
                  </a:txBody>
                  <a:tcP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dirty="0"/>
                        <a:t>No template diagram for any scenario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dirty="0"/>
                        <a:t>All projects require custom diagram be submitted</a:t>
                      </a:r>
                    </a:p>
                  </a:txBody>
                  <a:tcPr>
                    <a:lnT w="381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dirty="0"/>
                        <a:t>Template diagram employed for standard NEM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dirty="0"/>
                        <a:t>Custom diagram submitted for NEM-ST, NEM-MT, NEMA, and Expanded NEM</a:t>
                      </a:r>
                    </a:p>
                  </a:txBody>
                  <a:tcPr>
                    <a:lnT w="38100" cmpd="sng">
                      <a:noFill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9080385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66898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CDE13F6-8A4E-491E-B632-1B70CC5A6B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 NEM Template Diagrams</a:t>
            </a:r>
          </a:p>
        </p:txBody>
      </p:sp>
      <p:pic>
        <p:nvPicPr>
          <p:cNvPr id="2" name="Content Placeholder 1">
            <a:extLst>
              <a:ext uri="{FF2B5EF4-FFF2-40B4-BE49-F238E27FC236}">
                <a16:creationId xmlns:a16="http://schemas.microsoft.com/office/drawing/2014/main" id="{F309388B-2658-4E39-B679-E6530EB9E6B1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401445" y="1063229"/>
            <a:ext cx="4038600" cy="328896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A868F6-CD3A-4B82-94A8-F45F656DF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31A15EAA-547D-4185-A4E0-DDC0B5B98EDA}" type="slidenum">
              <a:rPr lang="en-US" smtClean="0">
                <a:latin typeface="Helvetica" pitchFamily="34" charset="0"/>
              </a:rPr>
              <a:pPr algn="r"/>
              <a:t>4</a:t>
            </a:fld>
            <a:r>
              <a:rPr lang="en-US"/>
              <a:t> 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7A264F6-DB83-480E-8258-DD633730FF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81500" y="1594133"/>
            <a:ext cx="4305300" cy="159067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C67F2A6-247A-49E6-B7C5-4DE45617DA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86147" y="2571750"/>
            <a:ext cx="4343400" cy="123825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2DE1F81-FE3B-4506-BEA2-16203651DE29}"/>
              </a:ext>
            </a:extLst>
          </p:cNvPr>
          <p:cNvSpPr/>
          <p:nvPr/>
        </p:nvSpPr>
        <p:spPr>
          <a:xfrm>
            <a:off x="1974599" y="4364063"/>
            <a:ext cx="7184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PG&amp;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E91C749-DBD8-4EB4-9DAB-83810DD7B3B4}"/>
              </a:ext>
            </a:extLst>
          </p:cNvPr>
          <p:cNvSpPr/>
          <p:nvPr/>
        </p:nvSpPr>
        <p:spPr>
          <a:xfrm>
            <a:off x="6109995" y="4364063"/>
            <a:ext cx="8483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SDG&amp;E</a:t>
            </a:r>
          </a:p>
        </p:txBody>
      </p:sp>
    </p:spTree>
    <p:extLst>
      <p:ext uri="{BB962C8B-B14F-4D97-AF65-F5344CB8AC3E}">
        <p14:creationId xmlns:p14="http://schemas.microsoft.com/office/powerpoint/2010/main" val="6709814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4E0CE71-797D-4E27-8373-B0E671963F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011" y="3978983"/>
            <a:ext cx="7183427" cy="66743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BBED7A8-B9B3-44DF-8791-1835DB4727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16051" y="2874765"/>
            <a:ext cx="5797521" cy="9158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F98F581-39C1-4AF2-81DD-9299D660A6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cess Improvement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BF757C8-E11B-472B-A01D-FD0A4554EB8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52426" y="918229"/>
            <a:ext cx="7724773" cy="1768198"/>
          </a:xfrm>
        </p:spPr>
        <p:txBody>
          <a:bodyPr/>
          <a:lstStyle/>
          <a:p>
            <a:r>
              <a:rPr lang="en-US" dirty="0"/>
              <a:t>Reduce deficiency rate</a:t>
            </a:r>
          </a:p>
          <a:p>
            <a:r>
              <a:rPr lang="en-US" dirty="0"/>
              <a:t>Existing equipment confirmed in application portal and existing utility records</a:t>
            </a:r>
          </a:p>
          <a:p>
            <a:r>
              <a:rPr lang="en-US" dirty="0"/>
              <a:t>Improved review timelines – batteries online quick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07D9D2-DD81-45B0-9BF8-0A6CDBCFFD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31A15EAA-547D-4185-A4E0-DDC0B5B98EDA}" type="slidenum">
              <a:rPr lang="en-US" smtClean="0">
                <a:latin typeface="Helvetica" pitchFamily="34" charset="0"/>
              </a:rPr>
              <a:pPr algn="r"/>
              <a:t>5</a:t>
            </a:fld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79191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0A31A12-1890-4F75-A87B-A8FA404F6B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20252"/>
            <a:ext cx="8229600" cy="857250"/>
          </a:xfrm>
        </p:spPr>
        <p:txBody>
          <a:bodyPr/>
          <a:lstStyle/>
          <a:p>
            <a:r>
              <a:rPr lang="en-US" dirty="0"/>
              <a:t>Implementation Propos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62001A-EF79-496D-BFBA-97095B375F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31A15EAA-547D-4185-A4E0-DDC0B5B98EDA}" type="slidenum">
              <a:rPr lang="en-US" smtClean="0">
                <a:latin typeface="Helvetica" pitchFamily="34" charset="0"/>
              </a:rPr>
              <a:pPr algn="r"/>
              <a:t>6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C96D89D1-5014-461A-8833-0EE4F86398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904875"/>
            <a:ext cx="8374566" cy="3394472"/>
          </a:xfrm>
        </p:spPr>
        <p:txBody>
          <a:bodyPr>
            <a:normAutofit/>
          </a:bodyPr>
          <a:lstStyle/>
          <a:p>
            <a:r>
              <a:rPr lang="en-US" dirty="0"/>
              <a:t>Templates by scenario</a:t>
            </a:r>
          </a:p>
          <a:p>
            <a:pPr lvl="1"/>
            <a:r>
              <a:rPr lang="en-US" dirty="0"/>
              <a:t>AC / DC coupled</a:t>
            </a:r>
          </a:p>
          <a:p>
            <a:pPr lvl="1"/>
            <a:r>
              <a:rPr lang="en-US" dirty="0"/>
              <a:t>Uninterruptible power supply</a:t>
            </a:r>
          </a:p>
          <a:p>
            <a:pPr lvl="1"/>
            <a:r>
              <a:rPr lang="en-US" dirty="0"/>
              <a:t>Standby generators</a:t>
            </a:r>
          </a:p>
          <a:p>
            <a:r>
              <a:rPr lang="en-US" dirty="0"/>
              <a:t>Templates by contractor or CSLB Number</a:t>
            </a:r>
          </a:p>
          <a:p>
            <a:r>
              <a:rPr lang="en-US" dirty="0"/>
              <a:t>Templates within sizing threshold (up to 30 kW)</a:t>
            </a:r>
          </a:p>
          <a:p>
            <a:r>
              <a:rPr lang="en-US" dirty="0"/>
              <a:t>Custom diagrams can still be submitted when necessary</a:t>
            </a:r>
          </a:p>
        </p:txBody>
      </p:sp>
    </p:spTree>
    <p:extLst>
      <p:ext uri="{BB962C8B-B14F-4D97-AF65-F5344CB8AC3E}">
        <p14:creationId xmlns:p14="http://schemas.microsoft.com/office/powerpoint/2010/main" val="5923712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Content Placeholder 16">
            <a:extLst>
              <a:ext uri="{FF2B5EF4-FFF2-40B4-BE49-F238E27FC236}">
                <a16:creationId xmlns:a16="http://schemas.microsoft.com/office/drawing/2014/main" id="{8E162008-5038-4F0A-A798-58E3270FA9A3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4284813" y="1220174"/>
            <a:ext cx="4769977" cy="260180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F1CCC84-5F7E-4530-9E6B-C167653C23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Template Diagram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A68FA9-65A3-4660-9BE7-40A962306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31A15EAA-547D-4185-A4E0-DDC0B5B98EDA}" type="slidenum">
              <a:rPr lang="en-US" smtClean="0">
                <a:latin typeface="Helvetica" pitchFamily="34" charset="0"/>
              </a:rPr>
              <a:pPr algn="r"/>
              <a:t>7</a:t>
            </a:fld>
            <a:r>
              <a:rPr lang="en-US"/>
              <a:t> </a:t>
            </a:r>
            <a:endParaRPr lang="en-US" dirty="0"/>
          </a:p>
        </p:txBody>
      </p:sp>
      <p:pic>
        <p:nvPicPr>
          <p:cNvPr id="20" name="Content Placeholder 19">
            <a:extLst>
              <a:ext uri="{FF2B5EF4-FFF2-40B4-BE49-F238E27FC236}">
                <a16:creationId xmlns:a16="http://schemas.microsoft.com/office/drawing/2014/main" id="{F3AAD506-2412-4755-B2C1-CC500B4873EF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149570" y="1183004"/>
            <a:ext cx="4038600" cy="273288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32B05614-7FFE-4FD0-8725-8A1EE00B4186}"/>
              </a:ext>
            </a:extLst>
          </p:cNvPr>
          <p:cNvSpPr txBox="1"/>
          <p:nvPr/>
        </p:nvSpPr>
        <p:spPr>
          <a:xfrm>
            <a:off x="547240" y="4089968"/>
            <a:ext cx="32432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Retrofit (Existing PV) AC Coupled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1BDDA78-F45F-4F12-8B8F-46F942DA5B10}"/>
              </a:ext>
            </a:extLst>
          </p:cNvPr>
          <p:cNvSpPr txBox="1"/>
          <p:nvPr/>
        </p:nvSpPr>
        <p:spPr>
          <a:xfrm>
            <a:off x="5095908" y="4089968"/>
            <a:ext cx="31477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tandalone (No PV) AC Coupled</a:t>
            </a:r>
          </a:p>
        </p:txBody>
      </p:sp>
    </p:spTree>
    <p:extLst>
      <p:ext uri="{BB962C8B-B14F-4D97-AF65-F5344CB8AC3E}">
        <p14:creationId xmlns:p14="http://schemas.microsoft.com/office/powerpoint/2010/main" val="37734896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A99D13A-F379-42BB-B065-B4568DBDDB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7723" y="1430921"/>
            <a:ext cx="7516983" cy="729811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Energy Storage Site Inspections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4599A1D1-5395-4A7A-9E9F-77FAE57B1E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72215" y="2559619"/>
            <a:ext cx="3999570" cy="729812"/>
          </a:xfrm>
        </p:spPr>
        <p:txBody>
          <a:bodyPr/>
          <a:lstStyle/>
          <a:p>
            <a:pPr algn="ctr"/>
            <a:r>
              <a:rPr lang="en-US" dirty="0"/>
              <a:t>Interconnection Discussion Forum</a:t>
            </a:r>
          </a:p>
          <a:p>
            <a:pPr algn="ctr"/>
            <a:r>
              <a:rPr lang="en-US" dirty="0"/>
              <a:t>December 2019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EE362D-46EC-41BF-97A6-BC744A66686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712200" y="4870450"/>
            <a:ext cx="431800" cy="273050"/>
          </a:xfrm>
        </p:spPr>
        <p:txBody>
          <a:bodyPr/>
          <a:lstStyle/>
          <a:p>
            <a:fld id="{00E6B595-AC0B-45AA-8133-7422E92C4F20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77923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0A31A12-1890-4F75-A87B-A8FA404F6B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20252"/>
            <a:ext cx="8229600" cy="857250"/>
          </a:xfrm>
        </p:spPr>
        <p:txBody>
          <a:bodyPr/>
          <a:lstStyle/>
          <a:p>
            <a:r>
              <a:rPr lang="en-US" dirty="0"/>
              <a:t>Inspection Proces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62001A-EF79-496D-BFBA-97095B375F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fld id="{31A15EAA-547D-4185-A4E0-DDC0B5B98EDA}" type="slidenum">
              <a:rPr lang="en-US" smtClean="0">
                <a:latin typeface="Helvetica" pitchFamily="34" charset="0"/>
              </a:rPr>
              <a:pPr algn="r"/>
              <a:t>9</a:t>
            </a:fld>
            <a:r>
              <a:rPr lang="en-US"/>
              <a:t> </a:t>
            </a:r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F927BF5-4857-40B3-B178-082C90A7AA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1010492"/>
            <a:ext cx="8441474" cy="3394472"/>
          </a:xfrm>
        </p:spPr>
        <p:txBody>
          <a:bodyPr>
            <a:normAutofit/>
          </a:bodyPr>
          <a:lstStyle/>
          <a:p>
            <a:pPr lvl="0"/>
            <a:r>
              <a:rPr lang="en-US" dirty="0"/>
              <a:t>Occurs at utility’s discretion</a:t>
            </a:r>
          </a:p>
          <a:p>
            <a:pPr lvl="0"/>
            <a:r>
              <a:rPr lang="en-US" dirty="0"/>
              <a:t>Common when AC disconnect(s) included</a:t>
            </a:r>
          </a:p>
          <a:p>
            <a:pPr lvl="0"/>
            <a:r>
              <a:rPr lang="en-US" dirty="0"/>
              <a:t>Requires additional coordination between customer, contractor and utility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60494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sla 2015 Template - External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esla 2015 Template - External.potx [Read-Only]" id="{5AFF6D00-AB69-4E8D-92E1-57A2466B3B9B}" vid="{7C628400-C1A4-43C6-BC89-88D75929230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329214DD8F4B840B8CDA4AF4D7D2AB0" ma:contentTypeVersion="13" ma:contentTypeDescription="Create a new document." ma:contentTypeScope="" ma:versionID="dc775d9464f502e8c4e1e9a53578ba3c">
  <xsd:schema xmlns:xsd="http://www.w3.org/2001/XMLSchema" xmlns:xs="http://www.w3.org/2001/XMLSchema" xmlns:p="http://schemas.microsoft.com/office/2006/metadata/properties" xmlns:ns3="ccffef30-6bd1-4895-b299-3af2c04782f7" xmlns:ns4="c47fa0a7-3699-48b6-9856-261cdefe0dd7" targetNamespace="http://schemas.microsoft.com/office/2006/metadata/properties" ma:root="true" ma:fieldsID="ba730e65cc3115607e665514b1d00bef" ns3:_="" ns4:_="">
    <xsd:import namespace="ccffef30-6bd1-4895-b299-3af2c04782f7"/>
    <xsd:import namespace="c47fa0a7-3699-48b6-9856-261cdefe0dd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ServiceDateTaken" minOccurs="0"/>
                <xsd:element ref="ns4:MediaServiceLocatio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ffef30-6bd1-4895-b299-3af2c04782f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47fa0a7-3699-48b6-9856-261cdefe0dd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D71C917-A343-4B12-855F-1BD03C96B83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cffef30-6bd1-4895-b299-3af2c04782f7"/>
    <ds:schemaRef ds:uri="c47fa0a7-3699-48b6-9856-261cdefe0dd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83F37BE-35B5-4B14-B710-4534CB53869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57749C2-095E-4B74-87F6-AE2AD2000616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c47fa0a7-3699-48b6-9856-261cdefe0dd7"/>
    <ds:schemaRef ds:uri="ccffef30-6bd1-4895-b299-3af2c04782f7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sla 2015 Template - External</Template>
  <TotalTime>20469</TotalTime>
  <Words>262</Words>
  <Application>Microsoft Office PowerPoint</Application>
  <PresentationFormat>On-screen Show (16:9)</PresentationFormat>
  <Paragraphs>63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Calibri</vt:lpstr>
      <vt:lpstr>Century Gothic</vt:lpstr>
      <vt:lpstr>Courier New</vt:lpstr>
      <vt:lpstr>Helvetica</vt:lpstr>
      <vt:lpstr>Tesla 2015 Template - External</vt:lpstr>
      <vt:lpstr>think-cell Slide</vt:lpstr>
      <vt:lpstr>PV-Paired Storage Projects Single Line Diagrams</vt:lpstr>
      <vt:lpstr>Overview</vt:lpstr>
      <vt:lpstr>Existing Practices – PV-Paired Storage </vt:lpstr>
      <vt:lpstr>Standard NEM Template Diagrams</vt:lpstr>
      <vt:lpstr>Process Improvements</vt:lpstr>
      <vt:lpstr>Implementation Proposals</vt:lpstr>
      <vt:lpstr>Sample Template Diagrams</vt:lpstr>
      <vt:lpstr>Energy Storage Site Inspections</vt:lpstr>
      <vt:lpstr>Inspection Process</vt:lpstr>
      <vt:lpstr>Proposed Alternatives</vt:lpstr>
      <vt:lpstr>Benefits to Removing Utility Inspection</vt:lpstr>
      <vt:lpstr>Sample Inspection Photos</vt:lpstr>
    </vt:vector>
  </TitlesOfParts>
  <Company>SolarCit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(Century Gothic 32)</dc:title>
  <dc:creator>Candice Schwartz</dc:creator>
  <cp:lastModifiedBy>Trenton Jean</cp:lastModifiedBy>
  <cp:revision>348</cp:revision>
  <dcterms:created xsi:type="dcterms:W3CDTF">2017-01-25T23:05:19Z</dcterms:created>
  <dcterms:modified xsi:type="dcterms:W3CDTF">2019-12-12T23:56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329214DD8F4B840B8CDA4AF4D7D2AB0</vt:lpwstr>
  </property>
</Properties>
</file>